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1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palalakshmi5/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palalakshmi5/Deals-and-coupons-casestudy-Video.git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720344"/>
          </a:xfrm>
        </p:spPr>
        <p:txBody>
          <a:bodyPr>
            <a:noAutofit/>
          </a:bodyPr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. Deals and Coupons Finder App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Finder App along with JWT authentication, Swagger and payment testing using Spring Boot and MERN Stack.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200" b="1" dirty="0">
                <a:latin typeface="Arial" panose="020B0604020202020204" pitchFamily="34" charset="0"/>
                <a:cs typeface="Arial" panose="020B0604020202020204" pitchFamily="34" charset="0"/>
              </a:rPr>
              <a:t>2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IN" sz="1100" dirty="0"/>
              <a:t>Check out my work on GitHub &amp; Video Profile</a:t>
            </a: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6956" y="1605434"/>
            <a:ext cx="2606551" cy="269876"/>
          </a:xfrm>
        </p:spPr>
        <p:txBody>
          <a:bodyPr/>
          <a:lstStyle/>
          <a:p>
            <a:pPr eaLnBrk="1" hangingPunct="1"/>
            <a:r>
              <a:rPr lang="nl-NL" altLang="nl-NL" dirty="0"/>
              <a:t>Lakshmi.chapala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800878848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5161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ReactJS(Hooks, redux)and Java Microservice Development using Spring framework on an intermediate level.</a:t>
            </a:r>
            <a:b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43932" y="596900"/>
            <a:ext cx="2918694" cy="6360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 Computer Science : 2017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Lakshmi Chapala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035329" y="6279621"/>
            <a:ext cx="437805" cy="43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705" y="6279621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9" name="Picture Placeholder 8" descr="A person wearing a blue shirt&#10;&#10;Description automatically generated with low confidence">
            <a:extLst>
              <a:ext uri="{FF2B5EF4-FFF2-40B4-BE49-F238E27FC236}">
                <a16:creationId xmlns:a16="http://schemas.microsoft.com/office/drawing/2014/main" id="{2BF61BED-7933-42F4-A817-B8097CC589CC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68" b="12068"/>
          <a:stretch>
            <a:fillRect/>
          </a:stretch>
        </p:blipFill>
        <p:spPr>
          <a:xfrm>
            <a:off x="479376" y="142042"/>
            <a:ext cx="1638091" cy="1827251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123</TotalTime>
  <Words>256</Words>
  <Application>Microsoft Office PowerPoint</Application>
  <PresentationFormat>Widescreen</PresentationFormat>
  <Paragraphs>5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Chapala, Lakshmi</cp:lastModifiedBy>
  <cp:revision>110</cp:revision>
  <dcterms:created xsi:type="dcterms:W3CDTF">2017-12-08T05:27:40Z</dcterms:created>
  <dcterms:modified xsi:type="dcterms:W3CDTF">2022-05-10T14:5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